
<file path=[Content_Types].xml><?xml version="1.0" encoding="utf-8"?>
<Types xmlns="http://schemas.openxmlformats.org/package/2006/content-types">
  <Default Extension="bin" ContentType="application/vnd.openxmlformats-officedocument.oleObject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theme/theme1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commentAuthors.xml" ContentType="application/vnd.openxmlformats-officedocument.presentationml.commentAuthors+xml"/>
  <Default Extension="vml" ContentType="application/vnd.openxmlformats-officedocument.vmlDrawing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49" r:id="rId1"/>
  </p:sldMasterIdLst>
  <p:notesMasterIdLst>
    <p:notesMasterId r:id="rId3"/>
  </p:notesMasterIdLst>
  <p:sldIdLst>
    <p:sldId id="302" r:id="rId2"/>
  </p:sldIdLst>
  <p:sldSz cx="9144000" cy="6858000" type="screen4x3"/>
  <p:notesSz cx="7099300" cy="10234613"/>
  <p:custDataLst>
    <p:tags r:id="rId4"/>
  </p:custDataLst>
  <p:defaultTextStyle>
    <a:defPPr>
      <a:defRPr lang="de-AT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rebuchet MS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rebuchet MS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rebuchet MS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rebuchet MS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rebuchet MS" pitchFamily="34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rebuchet MS" pitchFamily="34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rebuchet MS" pitchFamily="34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rebuchet MS" pitchFamily="34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rebuchet MS" pitchFamily="34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6B314"/>
    <a:srgbClr val="F6D500"/>
    <a:srgbClr val="008633"/>
    <a:srgbClr val="00606B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8668" autoAdjust="0"/>
    <p:restoredTop sz="94660"/>
  </p:normalViewPr>
  <p:slideViewPr>
    <p:cSldViewPr snapToGrid="0" snapToObjects="1" showGuides="1">
      <p:cViewPr varScale="1">
        <p:scale>
          <a:sx n="79" d="100"/>
          <a:sy n="79" d="100"/>
        </p:scale>
        <p:origin x="-1212" y="-90"/>
      </p:cViewPr>
      <p:guideLst>
        <p:guide orient="horz" pos="280"/>
        <p:guide orient="horz" pos="754"/>
        <p:guide orient="horz" pos="2648"/>
        <p:guide orient="horz" pos="2277"/>
        <p:guide orient="horz" pos="2117"/>
        <p:guide orient="horz" pos="1961"/>
        <p:guide orient="horz" pos="1912"/>
        <p:guide orient="horz" pos="1757"/>
        <p:guide pos="247"/>
        <p:guide pos="5656"/>
        <p:guide pos="2069"/>
        <p:guide pos="2218"/>
        <p:guide pos="3841"/>
        <p:guide pos="399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tags" Target="tags/tag1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8" tIns="47384" rIns="94768" bIns="47384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34" charset="0"/>
              </a:defRPr>
            </a:lvl1pPr>
          </a:lstStyle>
          <a:p>
            <a:endParaRPr lang="de-AT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1295" y="0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8" tIns="47384" rIns="94768" bIns="47384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endParaRPr lang="de-AT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8350"/>
            <a:ext cx="5114925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931" y="4861442"/>
            <a:ext cx="5679440" cy="4605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8" tIns="47384" rIns="94768" bIns="4738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AT" smtClean="0"/>
              <a:t>Textmasterformate durch Klicken bearbeiten</a:t>
            </a:r>
          </a:p>
          <a:p>
            <a:pPr lvl="1"/>
            <a:r>
              <a:rPr lang="de-AT" smtClean="0"/>
              <a:t>Zweite Ebene</a:t>
            </a:r>
          </a:p>
          <a:p>
            <a:pPr lvl="2"/>
            <a:r>
              <a:rPr lang="de-AT" smtClean="0"/>
              <a:t>Dritte Ebene</a:t>
            </a:r>
          </a:p>
          <a:p>
            <a:pPr lvl="3"/>
            <a:r>
              <a:rPr lang="de-AT" smtClean="0"/>
              <a:t>Vierte Ebene</a:t>
            </a:r>
          </a:p>
          <a:p>
            <a:pPr lvl="4"/>
            <a:r>
              <a:rPr lang="de-AT" smtClean="0"/>
              <a:t>Fünfte Ebene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721106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8" tIns="47384" rIns="94768" bIns="47384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pitchFamily="34" charset="0"/>
              </a:defRPr>
            </a:lvl1pPr>
          </a:lstStyle>
          <a:p>
            <a:endParaRPr lang="de-AT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295" y="9721106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68" tIns="47384" rIns="94768" bIns="47384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412BE1DE-602E-452F-A36E-704F095837E1}" type="slidenum">
              <a:rPr lang="de-AT"/>
              <a:pPr/>
              <a:t>‹Nr.›</a:t>
            </a:fld>
            <a:endParaRPr lang="de-A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1BAA8D3-1971-42EE-B083-EC894835FAF6}" type="slidenum">
              <a:rPr lang="de-AT"/>
              <a:pPr/>
              <a:t>1</a:t>
            </a:fld>
            <a:endParaRPr lang="de-AT"/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de-DE" smtClean="0"/>
              <a:t>Vermeidende Kommunikation weicher …</a:t>
            </a:r>
          </a:p>
          <a:p>
            <a:pPr eaLnBrk="1" hangingPunct="1"/>
            <a:r>
              <a:rPr lang="de-DE" smtClean="0"/>
              <a:t>Ein absatz</a:t>
            </a:r>
          </a:p>
          <a:p>
            <a:pPr eaLnBrk="1" hangingPunct="1"/>
            <a:r>
              <a:rPr lang="de-DE" smtClean="0"/>
              <a:t>Intransparente Darstellung der Qualitätskontrolle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098" name="think-cell Slide" r:id="rId6" imgW="0" imgH="0" progId="">
              <p:embed/>
            </p:oleObj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539750" y="446088"/>
            <a:ext cx="80645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Klicken Sie, um das Titelformat zu bearbeiten</a:t>
            </a: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body" idx="1"/>
            <p:custDataLst>
              <p:tags r:id="rId5"/>
            </p:custDataLst>
          </p:nvPr>
        </p:nvSpPr>
        <p:spPr bwMode="auto">
          <a:xfrm>
            <a:off x="539750" y="1196975"/>
            <a:ext cx="8064500" cy="141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Klicken Sie, um die Formate des Vorlagentextes zu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4105" name="Rectangle 9"/>
          <p:cNvSpPr>
            <a:spLocks noChangeArrowheads="1"/>
          </p:cNvSpPr>
          <p:nvPr/>
        </p:nvSpPr>
        <p:spPr bwMode="auto">
          <a:xfrm>
            <a:off x="3656693" y="6606431"/>
            <a:ext cx="1829027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anchor="ctr" anchorCtr="0">
            <a:spAutoFit/>
          </a:bodyPr>
          <a:lstStyle/>
          <a:p>
            <a:pPr algn="ctr">
              <a:spcBef>
                <a:spcPct val="20000"/>
              </a:spcBef>
              <a:buClr>
                <a:srgbClr val="CC0000"/>
              </a:buClr>
            </a:pPr>
            <a:r>
              <a:rPr lang="de-AT" sz="1000">
                <a:solidFill>
                  <a:schemeClr val="accent1"/>
                </a:solidFill>
              </a:rPr>
              <a:t>Vertraulichkeitsklasse V2 Inter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rebuchet MS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rebuchet MS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rebuchet MS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rebuchet MS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rebuchet MS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rebuchet MS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rebuchet MS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Trebuchet MS" pitchFamily="34" charset="0"/>
        </a:defRPr>
      </a:lvl9pPr>
    </p:titleStyle>
    <p:bodyStyle>
      <a:lvl1pPr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78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</a:defRPr>
      </a:lvl2pPr>
      <a:lvl3pPr marL="358775" indent="-1778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</a:defRPr>
      </a:lvl3pPr>
      <a:lvl4pPr marL="538163" indent="-1778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</a:defRPr>
      </a:lvl4pPr>
      <a:lvl5pPr marL="719138" indent="-1793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</a:defRPr>
      </a:lvl5pPr>
      <a:lvl6pPr marL="1176338" indent="-1793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</a:defRPr>
      </a:lvl6pPr>
      <a:lvl7pPr marL="1633538" indent="-1793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</a:defRPr>
      </a:lvl7pPr>
      <a:lvl8pPr marL="2090738" indent="-1793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</a:defRPr>
      </a:lvl8pPr>
      <a:lvl9pPr marL="2547938" indent="-1793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6" name="Rectangle 4"/>
          <p:cNvSpPr>
            <a:spLocks noGrp="1" noChangeArrowheads="1"/>
          </p:cNvSpPr>
          <p:nvPr>
            <p:ph type="title"/>
          </p:nvPr>
        </p:nvSpPr>
        <p:spPr>
          <a:xfrm>
            <a:off x="539750" y="443985"/>
            <a:ext cx="8064500" cy="369332"/>
          </a:xfrm>
        </p:spPr>
        <p:txBody>
          <a:bodyPr/>
          <a:lstStyle/>
          <a:p>
            <a:pPr eaLnBrk="1" hangingPunct="1"/>
            <a:r>
              <a:rPr lang="en-GB" dirty="0" smtClean="0"/>
              <a:t>XXXXXXXXXXXXXXXXXXXXXXX</a:t>
            </a:r>
          </a:p>
        </p:txBody>
      </p:sp>
      <p:graphicFrame>
        <p:nvGraphicFramePr>
          <p:cNvPr id="17" name="Tabelle 16"/>
          <p:cNvGraphicFramePr>
            <a:graphicFrameLocks noGrp="1"/>
          </p:cNvGraphicFramePr>
          <p:nvPr/>
        </p:nvGraphicFramePr>
        <p:xfrm>
          <a:off x="392113" y="1196973"/>
          <a:ext cx="8586786" cy="37769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4272"/>
                <a:gridCol w="984738"/>
                <a:gridCol w="1556239"/>
                <a:gridCol w="1547446"/>
                <a:gridCol w="1529861"/>
                <a:gridCol w="1514230"/>
              </a:tblGrid>
              <a:tr h="505780">
                <a:tc>
                  <a:txBody>
                    <a:bodyPr/>
                    <a:lstStyle/>
                    <a:p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smtClean="0"/>
                        <a:t>X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 smtClean="0"/>
                        <a:t>X</a:t>
                      </a:r>
                      <a:endParaRPr lang="en-US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 smtClean="0"/>
                        <a:t>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 smtClean="0"/>
                        <a:t>X</a:t>
                      </a:r>
                      <a:endParaRPr lang="en-US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100" dirty="0" smtClean="0"/>
                        <a:t>X</a:t>
                      </a:r>
                      <a:endParaRPr lang="en-US" sz="1100" dirty="0" smtClean="0"/>
                    </a:p>
                  </a:txBody>
                  <a:tcPr/>
                </a:tc>
              </a:tr>
              <a:tr h="50578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kern="1200" dirty="0" smtClean="0">
                          <a:solidFill>
                            <a:srgbClr val="96B314"/>
                          </a:solidFill>
                          <a:latin typeface="Arial" charset="0"/>
                          <a:ea typeface="ＭＳ Ｐゴシック" pitchFamily="-128" charset="-128"/>
                          <a:cs typeface="+mn-cs"/>
                          <a:sym typeface="Wingdings" pitchFamily="2" charset="2"/>
                        </a:rPr>
                        <a:t>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100" b="1" kern="1200" dirty="0" smtClean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AT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D10019">
                              <a:lumMod val="60000"/>
                              <a:lumOff val="40000"/>
                            </a:srgb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X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100" b="1" kern="1200" dirty="0" smtClean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100" b="1" kern="1200" dirty="0" smtClean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X</a:t>
                      </a:r>
                    </a:p>
                  </a:txBody>
                  <a:tcPr/>
                </a:tc>
              </a:tr>
              <a:tr h="35982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kern="1200" dirty="0" smtClean="0">
                          <a:solidFill>
                            <a:srgbClr val="96B314"/>
                          </a:solidFill>
                          <a:latin typeface="Arial" charset="0"/>
                          <a:ea typeface="ＭＳ Ｐゴシック" pitchFamily="-128" charset="-128"/>
                          <a:cs typeface="+mn-cs"/>
                          <a:sym typeface="Wingdings" pitchFamily="2" charset="2"/>
                        </a:rPr>
                        <a:t>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kern="1200" dirty="0" smtClean="0">
                          <a:solidFill>
                            <a:srgbClr val="96B314"/>
                          </a:solidFill>
                          <a:latin typeface="Arial" charset="0"/>
                          <a:ea typeface="ＭＳ Ｐゴシック" pitchFamily="-128" charset="-128"/>
                          <a:cs typeface="+mn-cs"/>
                          <a:sym typeface="Wingdings" pitchFamily="2" charset="2"/>
                        </a:rPr>
                        <a:t>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kern="1200" dirty="0" smtClean="0">
                          <a:solidFill>
                            <a:srgbClr val="96B314"/>
                          </a:solidFill>
                          <a:latin typeface="Arial" charset="0"/>
                          <a:ea typeface="ＭＳ Ｐゴシック" pitchFamily="-128" charset="-128"/>
                          <a:cs typeface="+mn-cs"/>
                          <a:sym typeface="Wingdings" pitchFamily="2" charset="2"/>
                        </a:rPr>
                        <a:t>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kern="1200" dirty="0" smtClean="0">
                          <a:solidFill>
                            <a:srgbClr val="96B314"/>
                          </a:solidFill>
                          <a:latin typeface="Arial" charset="0"/>
                          <a:ea typeface="ＭＳ Ｐゴシック" pitchFamily="-128" charset="-128"/>
                          <a:cs typeface="+mn-cs"/>
                          <a:sym typeface="Wingdings" pitchFamily="2" charset="2"/>
                        </a:rPr>
                        <a:t>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kern="1200" dirty="0" smtClean="0">
                          <a:solidFill>
                            <a:srgbClr val="96B314"/>
                          </a:solidFill>
                          <a:latin typeface="Arial" charset="0"/>
                          <a:ea typeface="ＭＳ Ｐゴシック" pitchFamily="-128" charset="-128"/>
                          <a:cs typeface="+mn-cs"/>
                          <a:sym typeface="Wingdings" pitchFamily="2" charset="2"/>
                        </a:rPr>
                        <a:t></a:t>
                      </a:r>
                    </a:p>
                  </a:txBody>
                  <a:tcPr/>
                </a:tc>
              </a:tr>
              <a:tr h="43977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kern="1200" dirty="0" smtClean="0">
                          <a:solidFill>
                            <a:srgbClr val="96B314"/>
                          </a:solidFill>
                          <a:latin typeface="Arial" charset="0"/>
                          <a:ea typeface="ＭＳ Ｐゴシック" pitchFamily="-128" charset="-128"/>
                          <a:cs typeface="+mn-cs"/>
                          <a:sym typeface="Wingdings" pitchFamily="2" charset="2"/>
                        </a:rPr>
                        <a:t>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100" b="1" kern="1200" dirty="0" smtClean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100" b="1" kern="1200" dirty="0" smtClean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100" b="1" kern="1200" dirty="0" smtClean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100" b="1" kern="1200" dirty="0" smtClean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X</a:t>
                      </a:r>
                    </a:p>
                  </a:txBody>
                  <a:tcPr/>
                </a:tc>
              </a:tr>
              <a:tr h="40643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kern="1200" dirty="0" smtClean="0">
                          <a:solidFill>
                            <a:srgbClr val="96B314"/>
                          </a:solidFill>
                          <a:latin typeface="Arial" charset="0"/>
                          <a:ea typeface="ＭＳ Ｐゴシック" pitchFamily="-128" charset="-128"/>
                          <a:cs typeface="+mn-cs"/>
                          <a:sym typeface="Wingdings" pitchFamily="2" charset="2"/>
                        </a:rPr>
                        <a:t>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kern="1200" dirty="0" smtClean="0">
                          <a:solidFill>
                            <a:srgbClr val="96B314"/>
                          </a:solidFill>
                          <a:latin typeface="Arial" charset="0"/>
                          <a:ea typeface="ＭＳ Ｐゴシック" pitchFamily="-128" charset="-128"/>
                          <a:cs typeface="+mn-cs"/>
                          <a:sym typeface="Wingdings" pitchFamily="2" charset="2"/>
                        </a:rPr>
                        <a:t>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–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100" b="1" kern="1200" dirty="0" smtClean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100" b="1" kern="1200" dirty="0" smtClean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X</a:t>
                      </a:r>
                    </a:p>
                  </a:txBody>
                  <a:tcPr/>
                </a:tc>
              </a:tr>
              <a:tr h="54783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kern="1200" dirty="0" smtClean="0">
                          <a:solidFill>
                            <a:srgbClr val="96B314"/>
                          </a:solidFill>
                          <a:latin typeface="Arial" charset="0"/>
                          <a:ea typeface="ＭＳ Ｐゴシック" pitchFamily="-128" charset="-128"/>
                          <a:cs typeface="+mn-cs"/>
                          <a:sym typeface="Wingdings" pitchFamily="2" charset="2"/>
                        </a:rPr>
                        <a:t>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kern="1200" dirty="0" smtClean="0">
                          <a:solidFill>
                            <a:srgbClr val="96B314"/>
                          </a:solidFill>
                          <a:latin typeface="Arial" charset="0"/>
                          <a:ea typeface="ＭＳ Ｐゴシック" pitchFamily="-128" charset="-128"/>
                          <a:cs typeface="+mn-cs"/>
                          <a:sym typeface="Wingdings" pitchFamily="2" charset="2"/>
                        </a:rPr>
                        <a:t>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kern="1200" dirty="0" smtClean="0">
                          <a:solidFill>
                            <a:srgbClr val="96B314"/>
                          </a:solidFill>
                          <a:latin typeface="Arial" charset="0"/>
                          <a:ea typeface="ＭＳ Ｐゴシック" pitchFamily="-128" charset="-128"/>
                          <a:cs typeface="+mn-cs"/>
                          <a:sym typeface="Wingdings" pitchFamily="2" charset="2"/>
                        </a:rPr>
                        <a:t>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AT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D10019">
                              <a:lumMod val="60000"/>
                              <a:lumOff val="40000"/>
                            </a:srgb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–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50578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kern="1200" dirty="0" smtClean="0">
                          <a:solidFill>
                            <a:srgbClr val="96B314"/>
                          </a:solidFill>
                          <a:latin typeface="Arial" charset="0"/>
                          <a:ea typeface="ＭＳ Ｐゴシック" pitchFamily="-128" charset="-128"/>
                          <a:cs typeface="+mn-cs"/>
                          <a:sym typeface="Wingdings" pitchFamily="2" charset="2"/>
                        </a:rPr>
                        <a:t>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kern="1200" dirty="0" smtClean="0">
                          <a:solidFill>
                            <a:srgbClr val="96B314"/>
                          </a:solidFill>
                          <a:latin typeface="Arial" charset="0"/>
                          <a:ea typeface="ＭＳ Ｐゴシック" pitchFamily="-128" charset="-128"/>
                          <a:cs typeface="+mn-cs"/>
                          <a:sym typeface="Wingdings" pitchFamily="2" charset="2"/>
                        </a:rPr>
                        <a:t>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kern="1200" dirty="0" smtClean="0">
                          <a:solidFill>
                            <a:srgbClr val="96B314"/>
                          </a:solidFill>
                          <a:latin typeface="Arial" charset="0"/>
                          <a:ea typeface="ＭＳ Ｐゴシック" pitchFamily="-128" charset="-128"/>
                          <a:cs typeface="+mn-cs"/>
                          <a:sym typeface="Wingdings" pitchFamily="2" charset="2"/>
                        </a:rPr>
                        <a:t>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100" b="1" kern="1200" dirty="0" smtClean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–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  <a:tr h="50578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de-DE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</a:t>
                      </a:r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kern="1200" dirty="0" smtClean="0">
                          <a:solidFill>
                            <a:srgbClr val="96B314"/>
                          </a:solidFill>
                          <a:latin typeface="Arial" charset="0"/>
                          <a:ea typeface="ＭＳ Ｐゴシック" pitchFamily="-128" charset="-128"/>
                          <a:cs typeface="+mn-cs"/>
                          <a:sym typeface="Wingdings" pitchFamily="2" charset="2"/>
                        </a:rPr>
                        <a:t>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–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kern="1200" dirty="0" smtClean="0">
                          <a:solidFill>
                            <a:srgbClr val="96B314"/>
                          </a:solidFill>
                          <a:latin typeface="Arial" charset="0"/>
                          <a:ea typeface="ＭＳ Ｐゴシック" pitchFamily="-128" charset="-128"/>
                          <a:cs typeface="+mn-cs"/>
                          <a:sym typeface="Wingdings" pitchFamily="2" charset="2"/>
                        </a:rPr>
                        <a:t>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AT" sz="1100" b="1" kern="1200" dirty="0" smtClean="0">
                          <a:solidFill>
                            <a:schemeClr val="accent2">
                              <a:lumMod val="60000"/>
                              <a:lumOff val="40000"/>
                            </a:schemeClr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X</a:t>
                      </a:r>
                    </a:p>
                    <a:p>
                      <a:pPr marL="0" algn="l" defTabSz="914400" rtl="0" eaLnBrk="1" latinLnBrk="0" hangingPunct="1"/>
                      <a:endParaRPr lang="en-US" sz="11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b="1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–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a7R_3qBEmrcJchshW3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2qHNcNrOkqgRjbetf3SAw"/>
</p:tagLst>
</file>

<file path=ppt/theme/theme1.xml><?xml version="1.0" encoding="utf-8"?>
<a:theme xmlns:a="http://schemas.openxmlformats.org/drawingml/2006/main" name="A1-TA_PPT-Vorlage_Office2007 (2)">
  <a:themeElements>
    <a:clrScheme name="TA">
      <a:dk1>
        <a:srgbClr val="000000"/>
      </a:dk1>
      <a:lt1>
        <a:srgbClr val="FFFFFF"/>
      </a:lt1>
      <a:dk2>
        <a:srgbClr val="9C9E9F"/>
      </a:dk2>
      <a:lt2>
        <a:srgbClr val="F6D500"/>
      </a:lt2>
      <a:accent1>
        <a:srgbClr val="CDCECF"/>
      </a:accent1>
      <a:accent2>
        <a:srgbClr val="D10019"/>
      </a:accent2>
      <a:accent3>
        <a:srgbClr val="E08900"/>
      </a:accent3>
      <a:accent4>
        <a:srgbClr val="00606B"/>
      </a:accent4>
      <a:accent5>
        <a:srgbClr val="008633"/>
      </a:accent5>
      <a:accent6>
        <a:srgbClr val="96B314"/>
      </a:accent6>
      <a:hlink>
        <a:srgbClr val="D10019"/>
      </a:hlink>
      <a:folHlink>
        <a:srgbClr val="9C9E9F"/>
      </a:folHlink>
    </a:clrScheme>
    <a:fontScheme name="TA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>
    <a:extraClrScheme>
      <a:clrScheme name="Präsentation1 1">
        <a:dk1>
          <a:srgbClr val="000000"/>
        </a:dk1>
        <a:lt1>
          <a:srgbClr val="FFFFFF"/>
        </a:lt1>
        <a:dk2>
          <a:srgbClr val="000000"/>
        </a:dk2>
        <a:lt2>
          <a:srgbClr val="9C9E9F"/>
        </a:lt2>
        <a:accent1>
          <a:srgbClr val="CDCECF"/>
        </a:accent1>
        <a:accent2>
          <a:srgbClr val="E08900"/>
        </a:accent2>
        <a:accent3>
          <a:srgbClr val="FFFFFF"/>
        </a:accent3>
        <a:accent4>
          <a:srgbClr val="000000"/>
        </a:accent4>
        <a:accent5>
          <a:srgbClr val="E3E3E4"/>
        </a:accent5>
        <a:accent6>
          <a:srgbClr val="CB7C00"/>
        </a:accent6>
        <a:hlink>
          <a:srgbClr val="D10019"/>
        </a:hlink>
        <a:folHlink>
          <a:srgbClr val="9695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äsentation1 2">
        <a:dk1>
          <a:srgbClr val="000000"/>
        </a:dk1>
        <a:lt1>
          <a:srgbClr val="FFFFFF"/>
        </a:lt1>
        <a:dk2>
          <a:srgbClr val="000000"/>
        </a:dk2>
        <a:lt2>
          <a:srgbClr val="9C9E9F"/>
        </a:lt2>
        <a:accent1>
          <a:srgbClr val="CDCECF"/>
        </a:accent1>
        <a:accent2>
          <a:srgbClr val="D10019"/>
        </a:accent2>
        <a:accent3>
          <a:srgbClr val="FFFFFF"/>
        </a:accent3>
        <a:accent4>
          <a:srgbClr val="000000"/>
        </a:accent4>
        <a:accent5>
          <a:srgbClr val="E3E3E4"/>
        </a:accent5>
        <a:accent6>
          <a:srgbClr val="BD0016"/>
        </a:accent6>
        <a:hlink>
          <a:srgbClr val="E08900"/>
        </a:hlink>
        <a:folHlink>
          <a:srgbClr val="9695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1-TA_PPT-Vorlage_Office2007 (2)</Template>
  <TotalTime>0</TotalTime>
  <Words>59</Words>
  <Application>Microsoft Office PowerPoint</Application>
  <PresentationFormat>Bildschirmpräsentation (4:3)</PresentationFormat>
  <Paragraphs>52</Paragraphs>
  <Slides>1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3" baseType="lpstr">
      <vt:lpstr>A1-TA_PPT-Vorlage_Office2007 (2)</vt:lpstr>
      <vt:lpstr>think-cell Slide</vt:lpstr>
      <vt:lpstr>XXXXXXXXXXXXXXXXXXXXXXX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 Präsentation</dc:title>
  <dc:creator/>
  <cp:lastModifiedBy/>
  <cp:revision>110</cp:revision>
  <dcterms:created xsi:type="dcterms:W3CDTF">2010-07-14T14:34:51Z</dcterms:created>
  <dcterms:modified xsi:type="dcterms:W3CDTF">2010-08-05T09:45:48Z</dcterms:modified>
</cp:coreProperties>
</file>